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31.jpg" ContentType="image/png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7"/>
  </p:notesMasterIdLst>
  <p:sldIdLst>
    <p:sldId id="258" r:id="rId3"/>
    <p:sldId id="280" r:id="rId4"/>
    <p:sldId id="305" r:id="rId5"/>
    <p:sldId id="283" r:id="rId6"/>
    <p:sldId id="309" r:id="rId7"/>
    <p:sldId id="311" r:id="rId8"/>
    <p:sldId id="306" r:id="rId9"/>
    <p:sldId id="288" r:id="rId10"/>
    <p:sldId id="290" r:id="rId11"/>
    <p:sldId id="291" r:id="rId12"/>
    <p:sldId id="307" r:id="rId13"/>
    <p:sldId id="314" r:id="rId14"/>
    <p:sldId id="297" r:id="rId15"/>
    <p:sldId id="298" r:id="rId16"/>
    <p:sldId id="299" r:id="rId17"/>
    <p:sldId id="300" r:id="rId18"/>
    <p:sldId id="301" r:id="rId19"/>
    <p:sldId id="313" r:id="rId20"/>
    <p:sldId id="303" r:id="rId21"/>
    <p:sldId id="304" r:id="rId22"/>
    <p:sldId id="275" r:id="rId23"/>
    <p:sldId id="312" r:id="rId24"/>
    <p:sldId id="294" r:id="rId25"/>
    <p:sldId id="295" r:id="rId26"/>
  </p:sldIdLst>
  <p:sldSz cx="9144000" cy="6858000" type="screen4x3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405" autoAdjust="0"/>
  </p:normalViewPr>
  <p:slideViewPr>
    <p:cSldViewPr snapToGrid="0">
      <p:cViewPr varScale="1">
        <p:scale>
          <a:sx n="63" d="100"/>
          <a:sy n="63" d="100"/>
        </p:scale>
        <p:origin x="16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1:44:59.734" idx="7">
    <p:pos x="10" y="10"/>
    <p:text>这里X射线测量效率是否需要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老师和同学，大家</a:t>
            </a:r>
            <a:r>
              <a:rPr lang="zh-CN" altLang="en-US" smtClean="0"/>
              <a:t>上午好。很高兴来参加这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>
              <a:latin typeface="Arial" panose="020B0604020202020204" pitchFamily="34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7931725" indent="-3747452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</a:pPr>
            <a:fld id="{C57ADC95-BCC3-4258-9E07-F4D7FB8439EB}" type="slidenum">
              <a:rPr lang="en-US" altLang="zh-CN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</a:t>
            </a:fld>
            <a:endParaRPr lang="en-US" altLang="zh-CN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803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4E6A574-ED3C-4E6C-8E01-46F89617F34A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7540C38-187E-4C45-9C9C-6A8494B407EB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BD7947B-8DB5-4938-B1A2-A01AA43BF6D9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5370BCF-C512-49FA-8852-342713E18FEE}" type="datetimeFigureOut">
              <a:rPr lang="zh-CN" altLang="en-US" smtClean="0"/>
              <a:pPr/>
              <a:t>2017/11/6</a:t>
            </a:fld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413251" y="6408740"/>
            <a:ext cx="3159125" cy="365125"/>
          </a:xfr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86F07-C6EA-43CC-B90F-EA9FF95DE00D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45BA4-8FE1-41CA-91D9-4B9667162D8C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A0866-2D91-4626-8492-0F1CCCA111B0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37B5B-613B-4BAC-A0EC-B61DD1EE7000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98ADE-7322-4C6B-9D14-350AAAFD8ABB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54CA9-8634-4741-B591-A1DFC4E44FF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CC3B9-F49F-48E0-9D20-D01E56DC5097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1E5C-2F1C-4FA8-B7F2-BC77AF604E5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65A80-8B4D-4D98-8072-2B42F21EAD12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BCBBB-C71D-43CE-94C1-B2DA7758D66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36D5F8A-9084-43F2-AEAB-5E473832B589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E9E938-3FA1-4C67-9F78-9BB4EB48BD01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15E28FD-567E-41F7-BB89-7CBF2BBCB09D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EF4D451-7086-4062-9BE8-5C908AFEFA86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702AB91-895B-4191-BF77-B826A7816715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C629A85-564E-4F78-AB70-1C75B32FD2D3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20593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7263" y="6204404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33948A-0B01-4D26-80E2-C541C3CC2D30}" type="datetime1">
              <a:rPr lang="zh-CN" altLang="en-US" smtClean="0"/>
              <a:t>2017/11/6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7" Type="http://schemas.openxmlformats.org/officeDocument/2006/relationships/image" Target="../media/image35.jpe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3.xml"/><Relationship Id="rId5" Type="http://schemas.openxmlformats.org/officeDocument/2006/relationships/comments" Target="../comments/comment1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9.emf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2000" dirty="0" err="1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yi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143250" y="4108450"/>
            <a:ext cx="30364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  快电子学实验室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阈值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94007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740370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475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475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64</a:t>
            </a:r>
            <a:r>
              <a:rPr lang="zh-CN" altLang="en-US" dirty="0"/>
              <a:t>通道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电子学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5" name="图片 4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矩形 5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7" name="直接箭头连接符 6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" name="直接箭头连接符 7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9" name="矩形 8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altLang="zh-CN" dirty="0"/>
              <a:t>S</a:t>
            </a:r>
            <a:r>
              <a:rPr lang="zh-CN" altLang="en-US" dirty="0"/>
              <a:t>曲线测量噪声</a:t>
            </a:r>
            <a:endParaRPr lang="en-US" altLang="zh-CN" dirty="0"/>
          </a:p>
          <a:p>
            <a:pPr lvl="1"/>
            <a:r>
              <a:rPr lang="zh-CN" altLang="en-US" dirty="0"/>
              <a:t>不接探测器和接上探测器分别测量</a:t>
            </a:r>
            <a:r>
              <a:rPr lang="en-US" altLang="zh-CN" dirty="0"/>
              <a:t>0</a:t>
            </a:r>
            <a:r>
              <a:rPr lang="zh-CN" altLang="en-US" dirty="0"/>
              <a:t>输入</a:t>
            </a:r>
            <a:r>
              <a:rPr lang="en-US" altLang="zh-CN" dirty="0"/>
              <a:t>S</a:t>
            </a:r>
            <a:r>
              <a:rPr lang="zh-CN" altLang="en-US" dirty="0"/>
              <a:t>曲线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69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5614718" y="1762332"/>
            <a:ext cx="2709266" cy="2031950"/>
            <a:chOff x="0" y="3258000"/>
            <a:chExt cx="4799999" cy="360000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799999" cy="3600000"/>
            </a:xfrm>
            <a:prstGeom prst="rect">
              <a:avLst/>
            </a:prstGeom>
          </p:spPr>
        </p:pic>
        <p:cxnSp>
          <p:nvCxnSpPr>
            <p:cNvPr id="6" name="直接箭头连接符 5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/>
            <p:cNvSpPr txBox="1"/>
            <p:nvPr/>
          </p:nvSpPr>
          <p:spPr>
            <a:xfrm>
              <a:off x="764013" y="5289696"/>
              <a:ext cx="1189709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00DF00"/>
                  </a:solidFill>
                </a:rPr>
                <a:t>Hold</a:t>
              </a:r>
              <a:r>
                <a:rPr lang="zh-CN" altLang="en-US" sz="1200" dirty="0">
                  <a:solidFill>
                    <a:srgbClr val="00DF00"/>
                  </a:solidFill>
                </a:rPr>
                <a:t>信号</a:t>
              </a:r>
            </a:p>
          </p:txBody>
        </p:sp>
        <p:cxnSp>
          <p:nvCxnSpPr>
            <p:cNvPr id="8" name="直接箭头连接符 7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2861771" y="5364259"/>
              <a:ext cx="11802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srgbClr val="00E8E8"/>
                  </a:solidFill>
                </a:rPr>
                <a:t>峰保输出</a:t>
              </a:r>
            </a:p>
          </p:txBody>
        </p:sp>
        <p:cxnSp>
          <p:nvCxnSpPr>
            <p:cNvPr id="10" name="直接箭头连接符 9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946713" y="3420964"/>
              <a:ext cx="25373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F5F400"/>
                  </a:solidFill>
                </a:rPr>
                <a:t>Low Gain Shaper </a:t>
              </a:r>
              <a:r>
                <a:rPr lang="zh-CN" altLang="en-US" sz="1200" dirty="0">
                  <a:solidFill>
                    <a:srgbClr val="F5F400"/>
                  </a:solidFill>
                </a:rPr>
                <a:t>输出</a:t>
              </a:r>
            </a:p>
          </p:txBody>
        </p:sp>
      </p:grpSp>
      <p:sp>
        <p:nvSpPr>
          <p:cNvPr id="12" name="矩形 11"/>
          <p:cNvSpPr/>
          <p:nvPr/>
        </p:nvSpPr>
        <p:spPr>
          <a:xfrm>
            <a:off x="4552074" y="1437647"/>
            <a:ext cx="4554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对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Microro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峰保输出进行测量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29366" y="3465785"/>
            <a:ext cx="4142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采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8keV X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射线能谱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1808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EM 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71481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IF</a:t>
            </a:r>
            <a:r>
              <a:rPr lang="en-US" altLang="zh-CN" dirty="0" smtClean="0">
                <a:solidFill>
                  <a:schemeClr val="tx1"/>
                </a:solidFill>
              </a:rPr>
              <a:t> </a:t>
            </a:r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945556" y="2756668"/>
            <a:ext cx="1452421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MICROROC Test 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7" name="直接箭头连接符 16"/>
          <p:cNvCxnSpPr>
            <a:stCxn id="14" idx="3"/>
            <a:endCxn id="16" idx="1"/>
          </p:cNvCxnSpPr>
          <p:nvPr/>
        </p:nvCxnSpPr>
        <p:spPr>
          <a:xfrm flipV="1">
            <a:off x="1436400" y="2990625"/>
            <a:ext cx="509156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6" idx="3"/>
            <a:endCxn id="15" idx="1"/>
          </p:cNvCxnSpPr>
          <p:nvPr/>
        </p:nvCxnSpPr>
        <p:spPr>
          <a:xfrm>
            <a:off x="3397977" y="2990625"/>
            <a:ext cx="316841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/>
        </p:nvSpPr>
        <p:spPr>
          <a:xfrm>
            <a:off x="3693582" y="1853922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C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890266" y="2362886"/>
            <a:ext cx="0" cy="4190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20"/>
          <p:cNvSpPr/>
          <p:nvPr/>
        </p:nvSpPr>
        <p:spPr>
          <a:xfrm>
            <a:off x="381110" y="1919810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 Ray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 flipH="1" flipV="1">
            <a:off x="4251727" y="2321835"/>
            <a:ext cx="7948" cy="5395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25" y="3742784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1317826" y="4225600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813324" y="1894439"/>
            <a:ext cx="1400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测试流程图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83" y="3794282"/>
            <a:ext cx="4077395" cy="2759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066" y="1548969"/>
            <a:ext cx="2358909" cy="176683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377" y="1585714"/>
            <a:ext cx="2355778" cy="176683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96784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0509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323524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120108" y="2240980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015745" y="2471950"/>
            <a:ext cx="127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002921" y="2748364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下弧形箭头 11"/>
          <p:cNvSpPr/>
          <p:nvPr/>
        </p:nvSpPr>
        <p:spPr>
          <a:xfrm rot="16200000">
            <a:off x="1159560" y="2091266"/>
            <a:ext cx="1010889" cy="62225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文本框 25"/>
          <p:cNvSpPr txBox="1">
            <a:spLocks noChangeArrowheads="1"/>
          </p:cNvSpPr>
          <p:nvPr/>
        </p:nvSpPr>
        <p:spPr bwMode="auto">
          <a:xfrm>
            <a:off x="3446121" y="2169954"/>
            <a:ext cx="25424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Pad</a:t>
            </a:r>
            <a:r>
              <a:rPr lang="zh-CN" altLang="en-US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大小：</a:t>
            </a:r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1cmx1cm</a:t>
            </a:r>
            <a:endParaRPr lang="en-US" altLang="zh-CN" b="1" dirty="0">
              <a:solidFill>
                <a:srgbClr val="FFFF00"/>
              </a:solidFill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643" y="1484171"/>
            <a:ext cx="2523018" cy="1871195"/>
          </a:xfrm>
          <a:prstGeom prst="rect">
            <a:avLst/>
          </a:prstGeom>
          <a:effectLst>
            <a:outerShdw dist="50800" sx="78000" sy="78000" algn="ctr" rotWithShape="0">
              <a:srgbClr val="000000">
                <a:alpha val="0"/>
              </a:srgbClr>
            </a:outerShdw>
          </a:effectLst>
        </p:spPr>
      </p:pic>
      <p:sp>
        <p:nvSpPr>
          <p:cNvPr id="15" name="文本框 14"/>
          <p:cNvSpPr txBox="1"/>
          <p:nvPr/>
        </p:nvSpPr>
        <p:spPr>
          <a:xfrm>
            <a:off x="6725115" y="2401802"/>
            <a:ext cx="160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 Ray</a:t>
            </a:r>
            <a:endParaRPr lang="zh-CN" altLang="en-US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2873" y="4062354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433066" y="3665981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557" y="370107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309701" y="449577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212377" y="4203437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446121" y="3637104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图</a:t>
            </a: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宇宙线测量效率和串扰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串扰和效率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75" y="1544795"/>
            <a:ext cx="3573624" cy="149198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922862" y="2462969"/>
            <a:ext cx="8402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>
                <a:solidFill>
                  <a:srgbClr val="FF0000"/>
                </a:solidFill>
              </a:rPr>
              <a:t>PMT1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7582922" y="1706340"/>
            <a:ext cx="8828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00FF"/>
                </a:solidFill>
              </a:rPr>
              <a:t>PMT2</a:t>
            </a:r>
            <a:endParaRPr lang="zh-CN" altLang="en-US" sz="1000" b="1" dirty="0">
              <a:solidFill>
                <a:srgbClr val="0000FF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8024368" y="2290788"/>
            <a:ext cx="83093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b="1" dirty="0">
                <a:solidFill>
                  <a:srgbClr val="92D050"/>
                </a:solidFill>
              </a:rPr>
              <a:t>符合信号</a:t>
            </a:r>
          </a:p>
        </p:txBody>
      </p:sp>
      <p:sp>
        <p:nvSpPr>
          <p:cNvPr id="8" name="矩形 7"/>
          <p:cNvSpPr/>
          <p:nvPr/>
        </p:nvSpPr>
        <p:spPr>
          <a:xfrm>
            <a:off x="6104377" y="1610962"/>
            <a:ext cx="13962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C000"/>
                </a:solidFill>
              </a:rPr>
              <a:t>GEM</a:t>
            </a:r>
            <a:r>
              <a:rPr lang="zh-CN" altLang="en-US" sz="1200" b="1" dirty="0" smtClean="0">
                <a:solidFill>
                  <a:srgbClr val="FFC000"/>
                </a:solidFill>
              </a:rPr>
              <a:t>探测器信号</a:t>
            </a:r>
            <a:endParaRPr lang="zh-CN" altLang="en-US" sz="1200" b="1" dirty="0">
              <a:solidFill>
                <a:srgbClr val="FFC00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 flipH="1">
            <a:off x="7554166" y="1884504"/>
            <a:ext cx="136763" cy="165408"/>
          </a:xfrm>
          <a:prstGeom prst="straightConnector1">
            <a:avLst/>
          </a:prstGeom>
          <a:ln w="254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H="1" flipV="1">
            <a:off x="6856603" y="2345254"/>
            <a:ext cx="97217" cy="20908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6677004" y="1829451"/>
            <a:ext cx="125512" cy="220461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219536" y="2939156"/>
            <a:ext cx="6306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zh-CN" altLang="en-US" sz="1200" dirty="0"/>
              <a:t>通过读回数据包和总触发数测量探测</a:t>
            </a:r>
            <a:r>
              <a:rPr lang="zh-CN" altLang="en-US" sz="1200" dirty="0" smtClean="0"/>
              <a:t>效率（阈值</a:t>
            </a:r>
            <a:r>
              <a:rPr lang="zh-CN" altLang="en-US" sz="1200" dirty="0"/>
              <a:t>：</a:t>
            </a:r>
            <a:r>
              <a:rPr lang="en-US" altLang="zh-CN" sz="1200" dirty="0" smtClean="0"/>
              <a:t>6fc</a:t>
            </a:r>
            <a:r>
              <a:rPr lang="zh-CN" altLang="en-US" sz="1200" dirty="0" smtClean="0"/>
              <a:t>）</a:t>
            </a:r>
            <a:endParaRPr lang="en-US" altLang="zh-CN" sz="1200" dirty="0"/>
          </a:p>
          <a:p>
            <a:pPr marL="0" lvl="1"/>
            <a:r>
              <a:rPr lang="zh-CN" altLang="en-US" sz="1200" dirty="0" smtClean="0"/>
              <a:t>效率：</a:t>
            </a:r>
            <a:r>
              <a:rPr lang="en-US" altLang="zh-CN" sz="1200" dirty="0"/>
              <a:t>10981/13000</a:t>
            </a:r>
            <a:r>
              <a:rPr lang="zh-CN" altLang="en-US" sz="1200" dirty="0"/>
              <a:t>～</a:t>
            </a:r>
            <a:r>
              <a:rPr lang="en-US" altLang="zh-CN" sz="1200" dirty="0"/>
              <a:t>84.5%</a:t>
            </a:r>
          </a:p>
          <a:p>
            <a:endParaRPr lang="en-US" altLang="zh-CN" sz="1200" dirty="0" smtClean="0"/>
          </a:p>
          <a:p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81" y="1531803"/>
            <a:ext cx="4867562" cy="1237734"/>
          </a:xfrm>
          <a:prstGeom prst="rect">
            <a:avLst/>
          </a:prstGeom>
        </p:spPr>
      </p:pic>
      <p:graphicFrame>
        <p:nvGraphicFramePr>
          <p:cNvPr id="14" name="Group 54"/>
          <p:cNvGraphicFramePr>
            <a:graphicFrameLocks/>
          </p:cNvGraphicFramePr>
          <p:nvPr>
            <p:extLst/>
          </p:nvPr>
        </p:nvGraphicFramePr>
        <p:xfrm>
          <a:off x="526394" y="4156297"/>
          <a:ext cx="4889294" cy="2096822"/>
        </p:xfrm>
        <a:graphic>
          <a:graphicData uri="http://schemas.openxmlformats.org/drawingml/2006/table">
            <a:tbl>
              <a:tblPr/>
              <a:tblGrid>
                <a:gridCol w="2082842"/>
                <a:gridCol w="1058866"/>
                <a:gridCol w="904133"/>
                <a:gridCol w="843453"/>
              </a:tblGrid>
              <a:tr h="3520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非击中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pad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信号分析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60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一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二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三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一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864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二个阈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 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68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9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3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三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4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总计数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0000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9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6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794301" y="6324524"/>
            <a:ext cx="5027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当事例击中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后，对相邻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有影响的事例数所占比例为</a:t>
            </a:r>
            <a:r>
              <a:rPr lang="en-US" altLang="zh-CN" sz="1200" dirty="0" smtClean="0"/>
              <a:t>1.54%</a:t>
            </a:r>
            <a:endParaRPr lang="zh-CN" altLang="en-US" sz="1200" dirty="0"/>
          </a:p>
        </p:txBody>
      </p:sp>
      <p:sp>
        <p:nvSpPr>
          <p:cNvPr id="16" name="文本框 15"/>
          <p:cNvSpPr txBox="1"/>
          <p:nvPr/>
        </p:nvSpPr>
        <p:spPr>
          <a:xfrm>
            <a:off x="275481" y="3756437"/>
            <a:ext cx="9021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设置</a:t>
            </a:r>
            <a:r>
              <a:rPr lang="en-US" altLang="zh-CN" sz="1400" dirty="0" smtClean="0"/>
              <a:t>3</a:t>
            </a:r>
            <a:r>
              <a:rPr lang="zh-CN" altLang="en-US" sz="1400" dirty="0" smtClean="0"/>
              <a:t>个阈，</a:t>
            </a:r>
            <a:r>
              <a:rPr lang="en-US" altLang="zh-CN" sz="1400" dirty="0" smtClean="0"/>
              <a:t>6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20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150fc</a:t>
            </a:r>
            <a:r>
              <a:rPr lang="zh-CN" altLang="en-US" sz="1400" dirty="0" smtClean="0"/>
              <a:t>。当且仅当过其中一个阈值时，分别统计击中</a:t>
            </a:r>
            <a:r>
              <a:rPr lang="en-US" altLang="zh-CN" sz="1400" dirty="0" smtClean="0"/>
              <a:t>pad</a:t>
            </a:r>
            <a:r>
              <a:rPr lang="zh-CN" altLang="en-US" sz="1400" dirty="0" smtClean="0"/>
              <a:t>信号过阈时对相邻信号的影响</a:t>
            </a:r>
            <a:r>
              <a:rPr lang="en-US" altLang="zh-CN" sz="1400" dirty="0" smtClean="0"/>
              <a:t>.</a:t>
            </a:r>
            <a:endParaRPr lang="zh-CN" altLang="en-US" sz="1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768" y="4209571"/>
            <a:ext cx="2618065" cy="2012463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59708" y="2584871"/>
            <a:ext cx="2743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效率测试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88552" y="340935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串扰测试</a:t>
            </a:r>
          </a:p>
        </p:txBody>
      </p:sp>
    </p:spTree>
    <p:extLst>
      <p:ext uri="{BB962C8B-B14F-4D97-AF65-F5344CB8AC3E}">
        <p14:creationId xmlns:p14="http://schemas.microsoft.com/office/powerpoint/2010/main" val="428273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7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zh-CN" altLang="en-US" dirty="0"/>
              <a:t>设计方案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</a:t>
            </a:r>
            <a:r>
              <a:rPr lang="zh-CN" altLang="en-US" dirty="0" smtClean="0"/>
              <a:t>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集成到探测器读出板背后</a:t>
            </a:r>
            <a:endParaRPr lang="en-US" altLang="zh-CN" dirty="0" smtClean="0"/>
          </a:p>
          <a:p>
            <a:pPr lvl="1"/>
            <a:r>
              <a:rPr lang="zh-CN" altLang="en-US" dirty="0"/>
              <a:t>盲埋</a:t>
            </a:r>
            <a:r>
              <a:rPr lang="zh-CN" altLang="en-US" dirty="0" smtClean="0"/>
              <a:t>孔工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对读出板进行控制</a:t>
            </a:r>
            <a:endParaRPr lang="en-US" altLang="zh-CN" dirty="0"/>
          </a:p>
          <a:p>
            <a:pPr lvl="1"/>
            <a:r>
              <a:rPr lang="zh-CN" altLang="en-US" dirty="0" smtClean="0"/>
              <a:t>多层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进行打包汇总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64016" y="3099859"/>
            <a:ext cx="5084309" cy="2913556"/>
            <a:chOff x="564016" y="3099859"/>
            <a:chExt cx="5084309" cy="2913556"/>
          </a:xfrm>
        </p:grpSpPr>
        <p:sp>
          <p:nvSpPr>
            <p:cNvPr id="5" name="矩形 4"/>
            <p:cNvSpPr/>
            <p:nvPr/>
          </p:nvSpPr>
          <p:spPr>
            <a:xfrm>
              <a:off x="3090991" y="4440626"/>
              <a:ext cx="619387" cy="24833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4016" y="3364502"/>
              <a:ext cx="2557334" cy="2648913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6289" y="3548518"/>
              <a:ext cx="1982036" cy="2032547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1238692" y="3099859"/>
              <a:ext cx="603991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369990" y="3283875"/>
              <a:ext cx="574634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  <p:grpSp>
        <p:nvGrpSpPr>
          <p:cNvPr id="760" name="组合 759"/>
          <p:cNvGrpSpPr/>
          <p:nvPr/>
        </p:nvGrpSpPr>
        <p:grpSpPr>
          <a:xfrm>
            <a:off x="589416" y="3364502"/>
            <a:ext cx="7063018" cy="3022603"/>
            <a:chOff x="751292" y="1690850"/>
            <a:chExt cx="7063018" cy="3022603"/>
          </a:xfrm>
        </p:grpSpPr>
        <p:grpSp>
          <p:nvGrpSpPr>
            <p:cNvPr id="761" name="组合 760"/>
            <p:cNvGrpSpPr/>
            <p:nvPr/>
          </p:nvGrpSpPr>
          <p:grpSpPr>
            <a:xfrm>
              <a:off x="751292" y="1690850"/>
              <a:ext cx="5470903" cy="3022603"/>
              <a:chOff x="3088092" y="3697450"/>
              <a:chExt cx="5470903" cy="3022603"/>
            </a:xfrm>
          </p:grpSpPr>
          <p:grpSp>
            <p:nvGrpSpPr>
              <p:cNvPr id="764" name="组合 763"/>
              <p:cNvGrpSpPr/>
              <p:nvPr/>
            </p:nvGrpSpPr>
            <p:grpSpPr>
              <a:xfrm>
                <a:off x="3492501" y="4024477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509" name="组合 1508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630" name="矩形 1629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631" name="图片 1630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510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511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2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3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4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5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6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7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8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9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0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1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2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3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4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5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6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7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8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9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0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1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2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3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5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7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9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1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2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3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4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5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6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7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8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9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0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1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2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3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4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5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6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7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8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9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0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1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2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3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4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5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6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7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8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9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0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1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2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3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4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5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6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7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9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0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1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2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3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4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5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6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7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8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9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0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1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2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3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4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5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6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7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8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9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0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1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2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3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4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5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6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7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8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9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0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1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2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3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4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5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6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7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8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9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0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1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2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3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4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5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6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7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8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9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5" name="组合 764"/>
              <p:cNvGrpSpPr/>
              <p:nvPr/>
            </p:nvGrpSpPr>
            <p:grpSpPr>
              <a:xfrm>
                <a:off x="3424239" y="3962564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386" name="组合 1385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507" name="矩形 1506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508" name="图片 1507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87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388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9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0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1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2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3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4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5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6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7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8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9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0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1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2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3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4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5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6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7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8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9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0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1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2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3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4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5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6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7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8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9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2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3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4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5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6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7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8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9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0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1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2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3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4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5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6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7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8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9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0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1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2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3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4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5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6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7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8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9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0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1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2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3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4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5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6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7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8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9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0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1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2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3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4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5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6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7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8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9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0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1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2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3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4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5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6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7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8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9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0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1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2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3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4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5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6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7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8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9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0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1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2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3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4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5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6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7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8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9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0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1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2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3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4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5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6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6" name="组合 765"/>
              <p:cNvGrpSpPr/>
              <p:nvPr/>
            </p:nvGrpSpPr>
            <p:grpSpPr>
              <a:xfrm>
                <a:off x="3354792" y="3900651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263" name="组合 1262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384" name="矩形 1383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385" name="图片 1384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264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265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6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7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8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69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0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1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2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3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4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5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6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7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8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9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0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1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2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3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4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5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6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7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8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9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0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1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2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3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4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5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6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7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8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1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2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3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4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5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6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7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8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9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0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1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2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3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4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5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6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7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8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9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0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1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2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3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4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5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6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7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8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9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0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1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2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3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4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5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6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7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8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9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0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1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2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3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4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5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6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7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8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9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0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1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2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3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4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5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6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7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8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9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0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1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2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3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4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5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6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7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8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9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0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1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2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3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4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5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6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7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8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9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0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1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2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3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7" name="组合 766"/>
              <p:cNvGrpSpPr/>
              <p:nvPr/>
            </p:nvGrpSpPr>
            <p:grpSpPr>
              <a:xfrm>
                <a:off x="3280179" y="383873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140" name="组合 1139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261" name="矩形 1260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262" name="图片 1261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41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142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3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4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5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6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7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8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9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0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1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2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3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4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5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6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7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8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9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0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1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2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3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4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5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6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7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8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9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0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1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2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3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4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5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6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7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8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9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0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1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2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3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4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5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6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7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8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9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0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1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2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3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4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5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6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7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8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9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0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1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2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3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4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5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6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7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8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9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0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1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2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3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4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5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6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7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8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9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0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1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2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3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4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5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6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7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8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9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0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1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2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3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4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5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6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7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8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9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0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1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2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3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4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5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6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7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8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9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0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1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2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3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4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5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6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7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8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9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0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8" name="组合 767"/>
              <p:cNvGrpSpPr/>
              <p:nvPr/>
            </p:nvGrpSpPr>
            <p:grpSpPr>
              <a:xfrm>
                <a:off x="3215093" y="379428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017" name="组合 1016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138" name="矩形 1137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139" name="图片 1138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018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019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0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1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2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4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5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6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7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1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2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3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4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5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6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7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8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9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1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2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3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4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5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6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7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8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9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0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1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2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3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4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5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6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7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8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9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0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1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2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3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4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5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6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7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8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9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0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1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2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3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4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5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6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7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8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9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0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1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2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3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4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5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6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7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8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9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0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1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2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3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4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5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6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7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8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9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0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2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3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4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5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6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7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8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9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0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1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2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3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4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5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6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7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8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9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0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1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2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3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4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5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6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7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9" name="组合 768"/>
              <p:cNvGrpSpPr/>
              <p:nvPr/>
            </p:nvGrpSpPr>
            <p:grpSpPr>
              <a:xfrm>
                <a:off x="3155845" y="3738892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894" name="组合 893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015" name="矩形 1014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016" name="图片 1015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5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896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7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8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0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2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3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4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5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6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7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8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9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0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1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2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3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4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5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6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7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8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9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0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1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2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3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4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5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6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7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8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9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0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1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2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3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4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5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6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7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8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9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0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1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2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3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4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5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6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7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8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9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0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1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52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3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4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5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6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7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8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9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0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1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2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3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4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5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6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7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8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9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0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1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2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3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4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5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6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7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8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1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2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3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4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5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6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8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9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0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1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2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3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4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5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6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7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8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9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0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1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2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3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4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5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6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7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8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9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0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1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2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3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4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70" name="组合 769"/>
              <p:cNvGrpSpPr/>
              <p:nvPr/>
            </p:nvGrpSpPr>
            <p:grpSpPr>
              <a:xfrm>
                <a:off x="3088092" y="3697450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771" name="组合 770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892" name="矩形 891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893" name="图片 892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72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40000" cy="2695576"/>
                  <a:chOff x="1770" y="1397"/>
                  <a:chExt cx="1600" cy="1698"/>
                </a:xfrm>
              </p:grpSpPr>
              <p:sp>
                <p:nvSpPr>
                  <p:cNvPr id="773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4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5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6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7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8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9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0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1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2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3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4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5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6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7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8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9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0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1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2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3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4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5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6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7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8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9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0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1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2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5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6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7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8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9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0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1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2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3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4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5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6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7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8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9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0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1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2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3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4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5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6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7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8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9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0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1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2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3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4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5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6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7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8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9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0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1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2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3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4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5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6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7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163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Power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48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9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0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连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1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65" cy="8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接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2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器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3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4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5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6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7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8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9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154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Test Por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0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1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2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3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4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5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6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7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8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9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0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1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2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3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4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5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6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7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8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9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0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1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2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3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4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5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6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7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8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9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0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1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762" name="矩形 761"/>
            <p:cNvSpPr/>
            <p:nvPr/>
          </p:nvSpPr>
          <p:spPr>
            <a:xfrm>
              <a:off x="7071360" y="2602230"/>
              <a:ext cx="742950" cy="826770"/>
            </a:xfrm>
            <a:prstGeom prst="rect">
              <a:avLst/>
            </a:prstGeom>
            <a:solidFill>
              <a:schemeClr val="bg1"/>
            </a:solidFill>
            <a:ln w="31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>
                  <a:solidFill>
                    <a:schemeClr val="tx1"/>
                  </a:solidFill>
                </a:rPr>
                <a:t>DAQ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63" name="右箭头 762"/>
            <p:cNvSpPr/>
            <p:nvPr/>
          </p:nvSpPr>
          <p:spPr>
            <a:xfrm>
              <a:off x="6248400" y="2865120"/>
              <a:ext cx="822960" cy="304800"/>
            </a:xfrm>
            <a:prstGeom prst="rightArrow">
              <a:avLst/>
            </a:prstGeom>
            <a:noFill/>
            <a:ln w="127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up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1399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24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7" name="组合 6"/>
          <p:cNvGrpSpPr/>
          <p:nvPr/>
        </p:nvGrpSpPr>
        <p:grpSpPr>
          <a:xfrm>
            <a:off x="144232" y="2081529"/>
            <a:ext cx="5647619" cy="3428571"/>
            <a:chOff x="247263" y="1992766"/>
            <a:chExt cx="5647619" cy="3428571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7263" y="1992766"/>
              <a:ext cx="5647619" cy="3428571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953814" y="199276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 smtClean="0"/>
                <a:t>*</a:t>
              </a:r>
              <a:endParaRPr lang="zh-CN" altLang="en-US" dirty="0"/>
            </a:p>
          </p:txBody>
        </p:sp>
      </p:grpSp>
      <p:sp>
        <p:nvSpPr>
          <p:cNvPr id="8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622510" y="6486293"/>
            <a:ext cx="3159125" cy="365125"/>
          </a:xfrm>
        </p:spPr>
        <p:txBody>
          <a:bodyPr/>
          <a:lstStyle/>
          <a:p>
            <a:r>
              <a:rPr lang="en-US" altLang="zh-CN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en-US" altLang="zh-CN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om ILC TDR Volume IV Page 41</a:t>
            </a:r>
            <a:endParaRPr lang="zh-CN" altLang="en-US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椭圆 8"/>
          <p:cNvSpPr/>
          <p:nvPr/>
        </p:nvSpPr>
        <p:spPr>
          <a:xfrm rot="16200000">
            <a:off x="4543936" y="4857195"/>
            <a:ext cx="598349" cy="70746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109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1447852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3732872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ext Box 4"/>
          <p:cNvSpPr txBox="1">
            <a:spLocks noChangeArrowheads="1"/>
          </p:cNvSpPr>
          <p:nvPr/>
        </p:nvSpPr>
        <p:spPr bwMode="auto">
          <a:xfrm>
            <a:off x="6164179" y="1722143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            t = 5µm </a:t>
            </a:r>
          </a:p>
          <a:p>
            <a:pPr>
              <a:defRPr/>
            </a:pPr>
            <a:r>
              <a:rPr lang="en-US" altLang="zh-CN" sz="1600" b="1" dirty="0" err="1" smtClean="0">
                <a:solidFill>
                  <a:srgbClr val="233DFF"/>
                </a:solidFill>
                <a:latin typeface="+mn-lt"/>
              </a:rPr>
              <a:t>Kapton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    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P = 140µm</a:t>
            </a:r>
          </a:p>
        </p:txBody>
      </p:sp>
      <p:pic>
        <p:nvPicPr>
          <p:cNvPr id="7174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1436034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6" name="文本框 2"/>
          <p:cNvSpPr txBox="1">
            <a:spLocks noChangeArrowheads="1"/>
          </p:cNvSpPr>
          <p:nvPr/>
        </p:nvSpPr>
        <p:spPr bwMode="auto">
          <a:xfrm>
            <a:off x="6154738" y="1057275"/>
            <a:ext cx="30114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>
                <a:solidFill>
                  <a:srgbClr val="FF0000"/>
                </a:solidFill>
              </a:rPr>
              <a:t>1997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CERN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F.Sauli</a:t>
            </a:r>
            <a:r>
              <a:rPr lang="zh-CN" altLang="en-US" b="1">
                <a:solidFill>
                  <a:srgbClr val="FF0000"/>
                </a:solidFill>
              </a:rPr>
              <a:t>提出</a:t>
            </a:r>
          </a:p>
        </p:txBody>
      </p:sp>
      <p:sp>
        <p:nvSpPr>
          <p:cNvPr id="11" name="TextBox 9"/>
          <p:cNvSpPr txBox="1">
            <a:spLocks noChangeArrowheads="1"/>
          </p:cNvSpPr>
          <p:nvPr/>
        </p:nvSpPr>
        <p:spPr bwMode="auto">
          <a:xfrm>
            <a:off x="381000" y="457200"/>
            <a:ext cx="623760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solidFill>
                  <a:srgbClr val="0000FF"/>
                </a:solidFill>
              </a:rPr>
              <a:t>GEM(Gas Electron Multiplier)</a:t>
            </a:r>
            <a:r>
              <a:rPr lang="zh-CN" altLang="en-US" sz="2800" b="1" dirty="0" smtClean="0">
                <a:solidFill>
                  <a:srgbClr val="0000FF"/>
                </a:solidFill>
              </a:rPr>
              <a:t>探测器</a:t>
            </a:r>
            <a:endParaRPr lang="zh-CN" altLang="ru-RU" sz="2800" b="1" dirty="0">
              <a:solidFill>
                <a:srgbClr val="0000FF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991" y="3882227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圆柱形孔电场线图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539" y="3415389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34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制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可扩展读出系统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98" y="1209698"/>
            <a:ext cx="8933404" cy="2797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3781634" y="1283685"/>
            <a:ext cx="5308589" cy="4380136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622510" y="6486293"/>
            <a:ext cx="3159125" cy="365125"/>
          </a:xfrm>
        </p:spPr>
        <p:txBody>
          <a:bodyPr/>
          <a:lstStyle/>
          <a:p>
            <a:r>
              <a:rPr lang="en-US" altLang="zh-CN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Developed at IN2P3 by OMEGA/LAL</a:t>
            </a:r>
            <a:endParaRPr lang="zh-CN" altLang="en-US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32</TotalTime>
  <Words>1111</Words>
  <Application>Microsoft Office PowerPoint</Application>
  <PresentationFormat>全屏显示(4:3)</PresentationFormat>
  <Paragraphs>437</Paragraphs>
  <Slides>24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6" baseType="lpstr">
      <vt:lpstr>黑体</vt:lpstr>
      <vt:lpstr>楷体</vt:lpstr>
      <vt:lpstr>宋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自定义设计方案</vt:lpstr>
      <vt:lpstr>think-cell Slide</vt:lpstr>
      <vt:lpstr>PowerPoint 演示文稿</vt:lpstr>
      <vt:lpstr>目录</vt:lpstr>
      <vt:lpstr>背景</vt:lpstr>
      <vt:lpstr>目录</vt:lpstr>
      <vt:lpstr>PowerPoint 演示文稿</vt:lpstr>
      <vt:lpstr>30x30cm2 GEM探测器制作</vt:lpstr>
      <vt:lpstr>设计方案</vt:lpstr>
      <vt:lpstr>半数字化读出芯片</vt:lpstr>
      <vt:lpstr>第一阶段方案</vt:lpstr>
      <vt:lpstr>第一阶段方案</vt:lpstr>
      <vt:lpstr>芯片阈值测试</vt:lpstr>
      <vt:lpstr>PowerPoint 演示文稿</vt:lpstr>
      <vt:lpstr>电子学测试</vt:lpstr>
      <vt:lpstr>探测器联调</vt:lpstr>
      <vt:lpstr>探测器联调</vt:lpstr>
      <vt:lpstr>增益均匀性测量</vt:lpstr>
      <vt:lpstr>串扰和效率测量</vt:lpstr>
      <vt:lpstr>总结</vt:lpstr>
      <vt:lpstr>50cm*100cm探测器设计</vt:lpstr>
      <vt:lpstr>探测器与电子学集成</vt:lpstr>
      <vt:lpstr>PowerPoint 演示文稿</vt:lpstr>
      <vt:lpstr>Backup</vt:lpstr>
      <vt:lpstr>电子学测试</vt:lpstr>
      <vt:lpstr>电子学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王宇</cp:lastModifiedBy>
  <cp:revision>16</cp:revision>
  <dcterms:created xsi:type="dcterms:W3CDTF">2017-11-03T08:04:33Z</dcterms:created>
  <dcterms:modified xsi:type="dcterms:W3CDTF">2017-11-06T14:21:14Z</dcterms:modified>
</cp:coreProperties>
</file>